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6" r:id="rId2"/>
    <p:sldId id="269" r:id="rId3"/>
    <p:sldId id="258" r:id="rId4"/>
    <p:sldId id="270" r:id="rId5"/>
    <p:sldId id="261" r:id="rId6"/>
  </p:sldIdLst>
  <p:sldSz cx="12192000" cy="6858000"/>
  <p:notesSz cx="6858000" cy="9144000"/>
  <p:custDataLst>
    <p:tags r:id="rId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6B72"/>
    <a:srgbClr val="979DA6"/>
    <a:srgbClr val="A6AFBD"/>
    <a:srgbClr val="BCC2CB"/>
    <a:srgbClr val="595959"/>
    <a:srgbClr val="7F7F7F"/>
    <a:srgbClr val="A5A5A5"/>
    <a:srgbClr val="BFBFBF"/>
    <a:srgbClr val="C7CCD4"/>
    <a:srgbClr val="434C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96" d="100"/>
          <a:sy n="96" d="100"/>
        </p:scale>
        <p:origin x="420" y="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72" d="100"/>
          <a:sy n="72" d="100"/>
        </p:scale>
        <p:origin x="3524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DDB9886A-BBBF-4AA8-95A3-CD946C39557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770F3DA4-240E-4394-A1A5-E645DA1DAD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4576C2-F1A1-49B4-91B8-3C4E418179EB}" type="datetimeFigureOut">
              <a:rPr lang="zh-CN" altLang="en-US" smtClean="0"/>
              <a:t>2025/3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D7293FB-7051-4367-9DF8-1B55B0599D5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FB05BB2-2E8E-417D-AC43-27D4DD40F2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9FCB87-D1A8-4C5B-A975-2B26AECC90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1554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3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图片 4097" descr="abstract, architecture, black and-white">
            <a:extLst>
              <a:ext uri="{FF2B5EF4-FFF2-40B4-BE49-F238E27FC236}">
                <a16:creationId xmlns:a16="http://schemas.microsoft.com/office/drawing/2014/main" id="{53B51AA8-7742-482F-8644-8ABE6E1C880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2418"/>
          <a:stretch/>
        </p:blipFill>
        <p:spPr bwMode="auto">
          <a:xfrm>
            <a:off x="-28030" y="-14288"/>
            <a:ext cx="12205744" cy="6878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D44E9FB1-8B06-41A1-A372-999CB5AE8768}"/>
              </a:ext>
            </a:extLst>
          </p:cNvPr>
          <p:cNvSpPr/>
          <p:nvPr userDrawn="1"/>
        </p:nvSpPr>
        <p:spPr>
          <a:xfrm>
            <a:off x="-28031" y="-6351"/>
            <a:ext cx="12205743" cy="6877051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4" name="任意多边形: 形状 173">
            <a:extLst>
              <a:ext uri="{FF2B5EF4-FFF2-40B4-BE49-F238E27FC236}">
                <a16:creationId xmlns:a16="http://schemas.microsoft.com/office/drawing/2014/main" id="{1AA77DE7-8C10-41F4-9F18-748D55A7C489}"/>
              </a:ext>
            </a:extLst>
          </p:cNvPr>
          <p:cNvSpPr>
            <a:spLocks/>
          </p:cNvSpPr>
          <p:nvPr userDrawn="1"/>
        </p:nvSpPr>
        <p:spPr bwMode="auto">
          <a:xfrm>
            <a:off x="2055813" y="4687888"/>
            <a:ext cx="1006475" cy="1003300"/>
          </a:xfrm>
          <a:custGeom>
            <a:avLst/>
            <a:gdLst>
              <a:gd name="T0" fmla="*/ 634 w 634"/>
              <a:gd name="T1" fmla="*/ 316 h 632"/>
              <a:gd name="T2" fmla="*/ 317 w 634"/>
              <a:gd name="T3" fmla="*/ 632 h 632"/>
              <a:gd name="T4" fmla="*/ 0 w 634"/>
              <a:gd name="T5" fmla="*/ 316 h 632"/>
              <a:gd name="T6" fmla="*/ 317 w 634"/>
              <a:gd name="T7" fmla="*/ 0 h 632"/>
              <a:gd name="T8" fmla="*/ 634 w 634"/>
              <a:gd name="T9" fmla="*/ 316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4" h="632">
                <a:moveTo>
                  <a:pt x="634" y="316"/>
                </a:moveTo>
                <a:lnTo>
                  <a:pt x="317" y="632"/>
                </a:lnTo>
                <a:lnTo>
                  <a:pt x="0" y="316"/>
                </a:lnTo>
                <a:lnTo>
                  <a:pt x="317" y="0"/>
                </a:lnTo>
                <a:lnTo>
                  <a:pt x="634" y="316"/>
                </a:lnTo>
                <a:close/>
              </a:path>
            </a:pathLst>
          </a:custGeom>
          <a:noFill/>
          <a:ln w="1111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>
            <p:ph type="subTitle" idx="1"/>
          </p:nvPr>
        </p:nvSpPr>
        <p:spPr>
          <a:xfrm>
            <a:off x="6218523" y="4067985"/>
            <a:ext cx="5129286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119" name="任意多边形: 形状 4118">
            <a:extLst>
              <a:ext uri="{FF2B5EF4-FFF2-40B4-BE49-F238E27FC236}">
                <a16:creationId xmlns:a16="http://schemas.microsoft.com/office/drawing/2014/main" id="{72BEF32B-F157-4439-BBE7-E753F142A23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113" y="-6351"/>
            <a:ext cx="12192000" cy="6850063"/>
          </a:xfrm>
          <a:custGeom>
            <a:avLst/>
            <a:gdLst>
              <a:gd name="T0" fmla="*/ 5128 w 7680"/>
              <a:gd name="T1" fmla="*/ 4079 h 4315"/>
              <a:gd name="T2" fmla="*/ 5128 w 7680"/>
              <a:gd name="T3" fmla="*/ 3411 h 4315"/>
              <a:gd name="T4" fmla="*/ 5227 w 7680"/>
              <a:gd name="T5" fmla="*/ 3411 h 4315"/>
              <a:gd name="T6" fmla="*/ 5227 w 7680"/>
              <a:gd name="T7" fmla="*/ 4079 h 4315"/>
              <a:gd name="T8" fmla="*/ 5128 w 7680"/>
              <a:gd name="T9" fmla="*/ 4079 h 4315"/>
              <a:gd name="T10" fmla="*/ 5316 w 7680"/>
              <a:gd name="T11" fmla="*/ 4079 h 4315"/>
              <a:gd name="T12" fmla="*/ 5316 w 7680"/>
              <a:gd name="T13" fmla="*/ 3411 h 4315"/>
              <a:gd name="T14" fmla="*/ 5415 w 7680"/>
              <a:gd name="T15" fmla="*/ 3411 h 4315"/>
              <a:gd name="T16" fmla="*/ 5415 w 7680"/>
              <a:gd name="T17" fmla="*/ 4079 h 4315"/>
              <a:gd name="T18" fmla="*/ 5316 w 7680"/>
              <a:gd name="T19" fmla="*/ 4079 h 4315"/>
              <a:gd name="T20" fmla="*/ 5515 w 7680"/>
              <a:gd name="T21" fmla="*/ 4079 h 4315"/>
              <a:gd name="T22" fmla="*/ 5515 w 7680"/>
              <a:gd name="T23" fmla="*/ 3411 h 4315"/>
              <a:gd name="T24" fmla="*/ 7492 w 7680"/>
              <a:gd name="T25" fmla="*/ 3411 h 4315"/>
              <a:gd name="T26" fmla="*/ 7492 w 7680"/>
              <a:gd name="T27" fmla="*/ 4079 h 4315"/>
              <a:gd name="T28" fmla="*/ 5515 w 7680"/>
              <a:gd name="T29" fmla="*/ 4079 h 4315"/>
              <a:gd name="T30" fmla="*/ 7680 w 7680"/>
              <a:gd name="T31" fmla="*/ 0 h 4315"/>
              <a:gd name="T32" fmla="*/ 4176 w 7680"/>
              <a:gd name="T33" fmla="*/ 0 h 4315"/>
              <a:gd name="T34" fmla="*/ 1656 w 7680"/>
              <a:gd name="T35" fmla="*/ 4315 h 4315"/>
              <a:gd name="T36" fmla="*/ 0 w 7680"/>
              <a:gd name="T37" fmla="*/ 4315 h 4315"/>
              <a:gd name="T38" fmla="*/ 0 w 7680"/>
              <a:gd name="T39" fmla="*/ 0 h 4315"/>
              <a:gd name="T40" fmla="*/ 0 w 7680"/>
              <a:gd name="T41" fmla="*/ 4315 h 4315"/>
              <a:gd name="T42" fmla="*/ 7680 w 7680"/>
              <a:gd name="T43" fmla="*/ 4315 h 4315"/>
              <a:gd name="T44" fmla="*/ 7680 w 7680"/>
              <a:gd name="T45" fmla="*/ 0 h 4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680" h="4315">
                <a:moveTo>
                  <a:pt x="5128" y="4079"/>
                </a:moveTo>
                <a:lnTo>
                  <a:pt x="5128" y="3411"/>
                </a:lnTo>
                <a:lnTo>
                  <a:pt x="5227" y="3411"/>
                </a:lnTo>
                <a:lnTo>
                  <a:pt x="5227" y="4079"/>
                </a:lnTo>
                <a:lnTo>
                  <a:pt x="5128" y="4079"/>
                </a:lnTo>
                <a:moveTo>
                  <a:pt x="5316" y="4079"/>
                </a:moveTo>
                <a:lnTo>
                  <a:pt x="5316" y="3411"/>
                </a:lnTo>
                <a:lnTo>
                  <a:pt x="5415" y="3411"/>
                </a:lnTo>
                <a:lnTo>
                  <a:pt x="5415" y="4079"/>
                </a:lnTo>
                <a:lnTo>
                  <a:pt x="5316" y="4079"/>
                </a:lnTo>
                <a:moveTo>
                  <a:pt x="5515" y="4079"/>
                </a:moveTo>
                <a:lnTo>
                  <a:pt x="5515" y="3411"/>
                </a:lnTo>
                <a:lnTo>
                  <a:pt x="7492" y="3411"/>
                </a:lnTo>
                <a:lnTo>
                  <a:pt x="7492" y="4079"/>
                </a:lnTo>
                <a:lnTo>
                  <a:pt x="5515" y="4079"/>
                </a:lnTo>
                <a:moveTo>
                  <a:pt x="7680" y="0"/>
                </a:moveTo>
                <a:lnTo>
                  <a:pt x="4176" y="0"/>
                </a:lnTo>
                <a:lnTo>
                  <a:pt x="1656" y="4315"/>
                </a:lnTo>
                <a:lnTo>
                  <a:pt x="0" y="4315"/>
                </a:lnTo>
                <a:lnTo>
                  <a:pt x="0" y="0"/>
                </a:lnTo>
                <a:lnTo>
                  <a:pt x="0" y="4315"/>
                </a:lnTo>
                <a:lnTo>
                  <a:pt x="7680" y="4315"/>
                </a:lnTo>
                <a:lnTo>
                  <a:pt x="768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21" name="任意多边形: 形状 4120">
            <a:extLst>
              <a:ext uri="{FF2B5EF4-FFF2-40B4-BE49-F238E27FC236}">
                <a16:creationId xmlns:a16="http://schemas.microsoft.com/office/drawing/2014/main" id="{15C34370-6DAA-407F-AA38-A24A8F5BC48D}"/>
              </a:ext>
            </a:extLst>
          </p:cNvPr>
          <p:cNvSpPr>
            <a:spLocks/>
          </p:cNvSpPr>
          <p:nvPr userDrawn="1"/>
        </p:nvSpPr>
        <p:spPr bwMode="auto">
          <a:xfrm>
            <a:off x="11113" y="-6351"/>
            <a:ext cx="6629400" cy="6850063"/>
          </a:xfrm>
          <a:custGeom>
            <a:avLst/>
            <a:gdLst>
              <a:gd name="T0" fmla="*/ 4176 w 4176"/>
              <a:gd name="T1" fmla="*/ 0 h 4315"/>
              <a:gd name="T2" fmla="*/ 0 w 4176"/>
              <a:gd name="T3" fmla="*/ 0 h 4315"/>
              <a:gd name="T4" fmla="*/ 0 w 4176"/>
              <a:gd name="T5" fmla="*/ 4315 h 4315"/>
              <a:gd name="T6" fmla="*/ 1656 w 4176"/>
              <a:gd name="T7" fmla="*/ 4315 h 4315"/>
              <a:gd name="T8" fmla="*/ 4176 w 4176"/>
              <a:gd name="T9" fmla="*/ 0 h 4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76" h="4315">
                <a:moveTo>
                  <a:pt x="4176" y="0"/>
                </a:moveTo>
                <a:lnTo>
                  <a:pt x="0" y="0"/>
                </a:lnTo>
                <a:lnTo>
                  <a:pt x="0" y="4315"/>
                </a:lnTo>
                <a:lnTo>
                  <a:pt x="1656" y="4315"/>
                </a:lnTo>
                <a:lnTo>
                  <a:pt x="417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55" name="矩形 4154">
            <a:extLst>
              <a:ext uri="{FF2B5EF4-FFF2-40B4-BE49-F238E27FC236}">
                <a16:creationId xmlns:a16="http://schemas.microsoft.com/office/drawing/2014/main" id="{5E7CD71B-A52F-4400-9237-00678988AD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450263" y="5408612"/>
            <a:ext cx="157163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58" name="矩形 4157">
            <a:extLst>
              <a:ext uri="{FF2B5EF4-FFF2-40B4-BE49-F238E27FC236}">
                <a16:creationId xmlns:a16="http://schemas.microsoft.com/office/drawing/2014/main" id="{50F0F1D8-2858-4BFF-AE96-233ACBA889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766176" y="5408612"/>
            <a:ext cx="3138488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793" name="矩形 9792">
            <a:extLst>
              <a:ext uri="{FF2B5EF4-FFF2-40B4-BE49-F238E27FC236}">
                <a16:creationId xmlns:a16="http://schemas.microsoft.com/office/drawing/2014/main" id="{C20446AE-A25A-4FF6-B9D6-4AE8D9EBCA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51813" y="5408612"/>
            <a:ext cx="157163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9" name="任意多边形: 形状 138">
            <a:extLst>
              <a:ext uri="{FF2B5EF4-FFF2-40B4-BE49-F238E27FC236}">
                <a16:creationId xmlns:a16="http://schemas.microsoft.com/office/drawing/2014/main" id="{C2B2ED60-ACF1-452C-8D5D-0FE8FCF4D6A5}"/>
              </a:ext>
            </a:extLst>
          </p:cNvPr>
          <p:cNvSpPr>
            <a:spLocks/>
          </p:cNvSpPr>
          <p:nvPr userDrawn="1"/>
        </p:nvSpPr>
        <p:spPr bwMode="auto">
          <a:xfrm>
            <a:off x="5120405" y="-1588"/>
            <a:ext cx="6005512" cy="6858000"/>
          </a:xfrm>
          <a:custGeom>
            <a:avLst/>
            <a:gdLst>
              <a:gd name="T0" fmla="*/ 0 w 3783"/>
              <a:gd name="T1" fmla="*/ 4320 h 4320"/>
              <a:gd name="T2" fmla="*/ 3783 w 3783"/>
              <a:gd name="T3" fmla="*/ 4320 h 4320"/>
              <a:gd name="T4" fmla="*/ 3783 w 3783"/>
              <a:gd name="T5" fmla="*/ 0 h 4320"/>
              <a:gd name="T6" fmla="*/ 2388 w 3783"/>
              <a:gd name="T7" fmla="*/ 7 h 4320"/>
              <a:gd name="T8" fmla="*/ 0 w 3783"/>
              <a:gd name="T9" fmla="*/ 928 h 4320"/>
              <a:gd name="T10" fmla="*/ 0 w 3783"/>
              <a:gd name="T11" fmla="*/ 432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83" h="4320">
                <a:moveTo>
                  <a:pt x="0" y="4320"/>
                </a:moveTo>
                <a:lnTo>
                  <a:pt x="3783" y="4320"/>
                </a:lnTo>
                <a:lnTo>
                  <a:pt x="3783" y="0"/>
                </a:lnTo>
                <a:lnTo>
                  <a:pt x="2388" y="7"/>
                </a:lnTo>
                <a:lnTo>
                  <a:pt x="0" y="928"/>
                </a:lnTo>
                <a:lnTo>
                  <a:pt x="0" y="432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5" name="任意多边形: 形状 174">
            <a:extLst>
              <a:ext uri="{FF2B5EF4-FFF2-40B4-BE49-F238E27FC236}">
                <a16:creationId xmlns:a16="http://schemas.microsoft.com/office/drawing/2014/main" id="{02E88332-4032-4C2C-962C-952C4D76A7B3}"/>
              </a:ext>
            </a:extLst>
          </p:cNvPr>
          <p:cNvSpPr>
            <a:spLocks/>
          </p:cNvSpPr>
          <p:nvPr userDrawn="1"/>
        </p:nvSpPr>
        <p:spPr bwMode="auto">
          <a:xfrm>
            <a:off x="2959007" y="1603588"/>
            <a:ext cx="2008188" cy="2003425"/>
          </a:xfrm>
          <a:custGeom>
            <a:avLst/>
            <a:gdLst>
              <a:gd name="T0" fmla="*/ 1265 w 1265"/>
              <a:gd name="T1" fmla="*/ 631 h 1262"/>
              <a:gd name="T2" fmla="*/ 632 w 1265"/>
              <a:gd name="T3" fmla="*/ 1262 h 1262"/>
              <a:gd name="T4" fmla="*/ 0 w 1265"/>
              <a:gd name="T5" fmla="*/ 631 h 1262"/>
              <a:gd name="T6" fmla="*/ 632 w 1265"/>
              <a:gd name="T7" fmla="*/ 0 h 1262"/>
              <a:gd name="T8" fmla="*/ 1265 w 1265"/>
              <a:gd name="T9" fmla="*/ 631 h 1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5" h="1262">
                <a:moveTo>
                  <a:pt x="1265" y="631"/>
                </a:moveTo>
                <a:lnTo>
                  <a:pt x="632" y="1262"/>
                </a:lnTo>
                <a:lnTo>
                  <a:pt x="0" y="631"/>
                </a:lnTo>
                <a:lnTo>
                  <a:pt x="632" y="0"/>
                </a:lnTo>
                <a:lnTo>
                  <a:pt x="1265" y="631"/>
                </a:lnTo>
                <a:close/>
              </a:path>
            </a:pathLst>
          </a:custGeom>
          <a:noFill/>
          <a:ln w="1111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4" name="任意多边形: 形状 183">
            <a:extLst>
              <a:ext uri="{FF2B5EF4-FFF2-40B4-BE49-F238E27FC236}">
                <a16:creationId xmlns:a16="http://schemas.microsoft.com/office/drawing/2014/main" id="{59F53E83-1A23-4529-B767-8D9D38BC804C}"/>
              </a:ext>
            </a:extLst>
          </p:cNvPr>
          <p:cNvSpPr>
            <a:spLocks/>
          </p:cNvSpPr>
          <p:nvPr userDrawn="1"/>
        </p:nvSpPr>
        <p:spPr bwMode="auto">
          <a:xfrm>
            <a:off x="7783953" y="-20638"/>
            <a:ext cx="4393760" cy="2197782"/>
          </a:xfrm>
          <a:custGeom>
            <a:avLst/>
            <a:gdLst>
              <a:gd name="T0" fmla="*/ 0 w 2437"/>
              <a:gd name="T1" fmla="*/ 0 h 1219"/>
              <a:gd name="T2" fmla="*/ 1218 w 2437"/>
              <a:gd name="T3" fmla="*/ 1219 h 1219"/>
              <a:gd name="T4" fmla="*/ 2437 w 2437"/>
              <a:gd name="T5" fmla="*/ 0 h 1219"/>
              <a:gd name="T6" fmla="*/ 0 w 2437"/>
              <a:gd name="T7" fmla="*/ 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37" h="1219">
                <a:moveTo>
                  <a:pt x="0" y="0"/>
                </a:moveTo>
                <a:lnTo>
                  <a:pt x="1218" y="1219"/>
                </a:lnTo>
                <a:lnTo>
                  <a:pt x="243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5" name="任意多边形: 形状 184">
            <a:extLst>
              <a:ext uri="{FF2B5EF4-FFF2-40B4-BE49-F238E27FC236}">
                <a16:creationId xmlns:a16="http://schemas.microsoft.com/office/drawing/2014/main" id="{A4254FAF-6C2F-4066-A09B-25459D5429EA}"/>
              </a:ext>
            </a:extLst>
          </p:cNvPr>
          <p:cNvSpPr>
            <a:spLocks/>
          </p:cNvSpPr>
          <p:nvPr userDrawn="1"/>
        </p:nvSpPr>
        <p:spPr bwMode="auto">
          <a:xfrm>
            <a:off x="7011831" y="-20638"/>
            <a:ext cx="2939272" cy="1487063"/>
          </a:xfrm>
          <a:custGeom>
            <a:avLst/>
            <a:gdLst>
              <a:gd name="T0" fmla="*/ 11 w 2024"/>
              <a:gd name="T1" fmla="*/ 0 h 1024"/>
              <a:gd name="T2" fmla="*/ 0 w 2024"/>
              <a:gd name="T3" fmla="*/ 12 h 1024"/>
              <a:gd name="T4" fmla="*/ 1012 w 2024"/>
              <a:gd name="T5" fmla="*/ 1024 h 1024"/>
              <a:gd name="T6" fmla="*/ 2024 w 2024"/>
              <a:gd name="T7" fmla="*/ 12 h 1024"/>
              <a:gd name="T8" fmla="*/ 2012 w 2024"/>
              <a:gd name="T9" fmla="*/ 0 h 1024"/>
              <a:gd name="T10" fmla="*/ 11 w 2024"/>
              <a:gd name="T11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24" h="1024">
                <a:moveTo>
                  <a:pt x="11" y="0"/>
                </a:moveTo>
                <a:lnTo>
                  <a:pt x="0" y="12"/>
                </a:lnTo>
                <a:lnTo>
                  <a:pt x="1012" y="1024"/>
                </a:lnTo>
                <a:lnTo>
                  <a:pt x="2024" y="12"/>
                </a:lnTo>
                <a:lnTo>
                  <a:pt x="2012" y="0"/>
                </a:lnTo>
                <a:lnTo>
                  <a:pt x="1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211" name="图片 210">
            <a:extLst>
              <a:ext uri="{FF2B5EF4-FFF2-40B4-BE49-F238E27FC236}">
                <a16:creationId xmlns:a16="http://schemas.microsoft.com/office/drawing/2014/main" id="{EC713066-BD98-47E4-B41F-36E65AF27C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8934843">
            <a:off x="8809764" y="1335108"/>
            <a:ext cx="592163" cy="59045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83" name="矩形 182">
            <a:extLst>
              <a:ext uri="{FF2B5EF4-FFF2-40B4-BE49-F238E27FC236}">
                <a16:creationId xmlns:a16="http://schemas.microsoft.com/office/drawing/2014/main" id="{74B44A95-4512-4F85-9EA1-061A8A1DAB78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6557963" y="3606800"/>
            <a:ext cx="5011737" cy="193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6" name="任意多边形: 形状 225">
            <a:extLst>
              <a:ext uri="{FF2B5EF4-FFF2-40B4-BE49-F238E27FC236}">
                <a16:creationId xmlns:a16="http://schemas.microsoft.com/office/drawing/2014/main" id="{D2201644-7650-40B3-ABDD-A6C9B249F41C}"/>
              </a:ext>
            </a:extLst>
          </p:cNvPr>
          <p:cNvSpPr>
            <a:spLocks/>
          </p:cNvSpPr>
          <p:nvPr userDrawn="1"/>
        </p:nvSpPr>
        <p:spPr bwMode="auto">
          <a:xfrm>
            <a:off x="9380365" y="1515391"/>
            <a:ext cx="1139919" cy="1137215"/>
          </a:xfrm>
          <a:custGeom>
            <a:avLst/>
            <a:gdLst>
              <a:gd name="T0" fmla="*/ 1265 w 1265"/>
              <a:gd name="T1" fmla="*/ 631 h 1262"/>
              <a:gd name="T2" fmla="*/ 632 w 1265"/>
              <a:gd name="T3" fmla="*/ 1262 h 1262"/>
              <a:gd name="T4" fmla="*/ 0 w 1265"/>
              <a:gd name="T5" fmla="*/ 631 h 1262"/>
              <a:gd name="T6" fmla="*/ 632 w 1265"/>
              <a:gd name="T7" fmla="*/ 0 h 1262"/>
              <a:gd name="T8" fmla="*/ 1265 w 1265"/>
              <a:gd name="T9" fmla="*/ 631 h 1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5" h="1262">
                <a:moveTo>
                  <a:pt x="1265" y="631"/>
                </a:moveTo>
                <a:lnTo>
                  <a:pt x="632" y="1262"/>
                </a:lnTo>
                <a:lnTo>
                  <a:pt x="0" y="631"/>
                </a:lnTo>
                <a:lnTo>
                  <a:pt x="632" y="0"/>
                </a:lnTo>
                <a:lnTo>
                  <a:pt x="1265" y="631"/>
                </a:lnTo>
                <a:close/>
              </a:path>
            </a:pathLst>
          </a:custGeom>
          <a:noFill/>
          <a:ln w="1111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8" name="矩形 187">
            <a:extLst>
              <a:ext uri="{FF2B5EF4-FFF2-40B4-BE49-F238E27FC236}">
                <a16:creationId xmlns:a16="http://schemas.microsoft.com/office/drawing/2014/main" id="{1F5120FE-59F2-4ACE-9B53-3D150B92BDDB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-9525" y="0"/>
            <a:ext cx="4521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9" name="任意多边形: 形状 188">
            <a:extLst>
              <a:ext uri="{FF2B5EF4-FFF2-40B4-BE49-F238E27FC236}">
                <a16:creationId xmlns:a16="http://schemas.microsoft.com/office/drawing/2014/main" id="{82311CB0-3849-4710-87CB-217E8C72D602}"/>
              </a:ext>
            </a:extLst>
          </p:cNvPr>
          <p:cNvSpPr>
            <a:spLocks/>
          </p:cNvSpPr>
          <p:nvPr userDrawn="1"/>
        </p:nvSpPr>
        <p:spPr bwMode="auto">
          <a:xfrm>
            <a:off x="-21793" y="0"/>
            <a:ext cx="3435350" cy="6856413"/>
          </a:xfrm>
          <a:custGeom>
            <a:avLst/>
            <a:gdLst>
              <a:gd name="T0" fmla="*/ 0 w 2164"/>
              <a:gd name="T1" fmla="*/ 4319 h 4319"/>
              <a:gd name="T2" fmla="*/ 0 w 2164"/>
              <a:gd name="T3" fmla="*/ 0 h 4319"/>
              <a:gd name="T4" fmla="*/ 2164 w 2164"/>
              <a:gd name="T5" fmla="*/ 2159 h 4319"/>
              <a:gd name="T6" fmla="*/ 0 w 2164"/>
              <a:gd name="T7" fmla="*/ 4319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4" h="4319">
                <a:moveTo>
                  <a:pt x="0" y="4319"/>
                </a:moveTo>
                <a:lnTo>
                  <a:pt x="0" y="0"/>
                </a:lnTo>
                <a:lnTo>
                  <a:pt x="2164" y="2159"/>
                </a:lnTo>
                <a:lnTo>
                  <a:pt x="0" y="4319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0" name="任意多边形: 形状 189">
            <a:extLst>
              <a:ext uri="{FF2B5EF4-FFF2-40B4-BE49-F238E27FC236}">
                <a16:creationId xmlns:a16="http://schemas.microsoft.com/office/drawing/2014/main" id="{1CC90BEC-C0FB-48DC-BD71-14B1E27ABD59}"/>
              </a:ext>
            </a:extLst>
          </p:cNvPr>
          <p:cNvSpPr>
            <a:spLocks/>
          </p:cNvSpPr>
          <p:nvPr userDrawn="1"/>
        </p:nvSpPr>
        <p:spPr bwMode="auto">
          <a:xfrm>
            <a:off x="931863" y="1881188"/>
            <a:ext cx="3387725" cy="3381375"/>
          </a:xfrm>
          <a:custGeom>
            <a:avLst/>
            <a:gdLst>
              <a:gd name="T0" fmla="*/ 1066 w 2134"/>
              <a:gd name="T1" fmla="*/ 2130 h 2130"/>
              <a:gd name="T2" fmla="*/ 0 w 2134"/>
              <a:gd name="T3" fmla="*/ 1066 h 2130"/>
              <a:gd name="T4" fmla="*/ 1066 w 2134"/>
              <a:gd name="T5" fmla="*/ 0 h 2130"/>
              <a:gd name="T6" fmla="*/ 2134 w 2134"/>
              <a:gd name="T7" fmla="*/ 1066 h 2130"/>
              <a:gd name="T8" fmla="*/ 1066 w 2134"/>
              <a:gd name="T9" fmla="*/ 2130 h 2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34" h="2130">
                <a:moveTo>
                  <a:pt x="1066" y="2130"/>
                </a:moveTo>
                <a:lnTo>
                  <a:pt x="0" y="1066"/>
                </a:lnTo>
                <a:lnTo>
                  <a:pt x="1066" y="0"/>
                </a:lnTo>
                <a:lnTo>
                  <a:pt x="2134" y="1066"/>
                </a:lnTo>
                <a:lnTo>
                  <a:pt x="1066" y="213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1" name="任意多边形: 形状 190">
            <a:extLst>
              <a:ext uri="{FF2B5EF4-FFF2-40B4-BE49-F238E27FC236}">
                <a16:creationId xmlns:a16="http://schemas.microsoft.com/office/drawing/2014/main" id="{6DE3E620-A4CB-45DA-A128-42D01E56150F}"/>
              </a:ext>
            </a:extLst>
          </p:cNvPr>
          <p:cNvSpPr>
            <a:spLocks/>
          </p:cNvSpPr>
          <p:nvPr userDrawn="1"/>
        </p:nvSpPr>
        <p:spPr bwMode="auto">
          <a:xfrm>
            <a:off x="1657350" y="4918075"/>
            <a:ext cx="857250" cy="855663"/>
          </a:xfrm>
          <a:custGeom>
            <a:avLst/>
            <a:gdLst>
              <a:gd name="T0" fmla="*/ 269 w 540"/>
              <a:gd name="T1" fmla="*/ 539 h 539"/>
              <a:gd name="T2" fmla="*/ 0 w 540"/>
              <a:gd name="T3" fmla="*/ 269 h 539"/>
              <a:gd name="T4" fmla="*/ 269 w 540"/>
              <a:gd name="T5" fmla="*/ 0 h 539"/>
              <a:gd name="T6" fmla="*/ 540 w 540"/>
              <a:gd name="T7" fmla="*/ 269 h 539"/>
              <a:gd name="T8" fmla="*/ 269 w 540"/>
              <a:gd name="T9" fmla="*/ 539 h 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40" h="539">
                <a:moveTo>
                  <a:pt x="269" y="539"/>
                </a:moveTo>
                <a:lnTo>
                  <a:pt x="0" y="269"/>
                </a:lnTo>
                <a:lnTo>
                  <a:pt x="269" y="0"/>
                </a:lnTo>
                <a:lnTo>
                  <a:pt x="540" y="269"/>
                </a:lnTo>
                <a:lnTo>
                  <a:pt x="269" y="5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4" name="任意多边形: 形状 223">
            <a:extLst>
              <a:ext uri="{FF2B5EF4-FFF2-40B4-BE49-F238E27FC236}">
                <a16:creationId xmlns:a16="http://schemas.microsoft.com/office/drawing/2014/main" id="{6203B3B9-7A06-4E65-BCD5-E5A48C80878D}"/>
              </a:ext>
            </a:extLst>
          </p:cNvPr>
          <p:cNvSpPr>
            <a:spLocks/>
          </p:cNvSpPr>
          <p:nvPr userDrawn="1"/>
        </p:nvSpPr>
        <p:spPr bwMode="auto">
          <a:xfrm>
            <a:off x="3898900" y="3895725"/>
            <a:ext cx="614363" cy="614363"/>
          </a:xfrm>
          <a:custGeom>
            <a:avLst/>
            <a:gdLst>
              <a:gd name="T0" fmla="*/ 194 w 387"/>
              <a:gd name="T1" fmla="*/ 387 h 387"/>
              <a:gd name="T2" fmla="*/ 0 w 387"/>
              <a:gd name="T3" fmla="*/ 193 h 387"/>
              <a:gd name="T4" fmla="*/ 194 w 387"/>
              <a:gd name="T5" fmla="*/ 0 h 387"/>
              <a:gd name="T6" fmla="*/ 387 w 387"/>
              <a:gd name="T7" fmla="*/ 193 h 387"/>
              <a:gd name="T8" fmla="*/ 194 w 387"/>
              <a:gd name="T9" fmla="*/ 387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7" h="387">
                <a:moveTo>
                  <a:pt x="194" y="387"/>
                </a:moveTo>
                <a:lnTo>
                  <a:pt x="0" y="193"/>
                </a:lnTo>
                <a:lnTo>
                  <a:pt x="194" y="0"/>
                </a:lnTo>
                <a:lnTo>
                  <a:pt x="387" y="193"/>
                </a:lnTo>
                <a:lnTo>
                  <a:pt x="194" y="3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1" hasCustomPrompt="1"/>
          </p:nvPr>
        </p:nvSpPr>
        <p:spPr>
          <a:xfrm>
            <a:off x="6218524" y="5664418"/>
            <a:ext cx="516383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BF6FBA57-2912-4D35-BBCB-4C2C6052F9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8523" y="5360547"/>
            <a:ext cx="516383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25" name="标题 24">
            <a:extLst>
              <a:ext uri="{FF2B5EF4-FFF2-40B4-BE49-F238E27FC236}">
                <a16:creationId xmlns:a16="http://schemas.microsoft.com/office/drawing/2014/main" id="{C78E0AFB-0B65-4016-9BDF-9601B7003D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18524" y="2835139"/>
            <a:ext cx="5129286" cy="1187722"/>
          </a:xfrm>
        </p:spPr>
        <p:txBody>
          <a:bodyPr anchor="ctr">
            <a:no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466869" y="260790"/>
            <a:ext cx="6074696" cy="61320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104008A7-8415-4743-826B-FEA9AC9B0813}"/>
              </a:ext>
            </a:extLst>
          </p:cNvPr>
          <p:cNvGrpSpPr/>
          <p:nvPr userDrawn="1"/>
        </p:nvGrpSpPr>
        <p:grpSpPr>
          <a:xfrm flipH="1">
            <a:off x="-3162" y="3967"/>
            <a:ext cx="12192000" cy="6843742"/>
            <a:chOff x="-3162" y="3967"/>
            <a:chExt cx="12192000" cy="6843742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10F0199B-BA3A-4330-946A-C46369A11EFF}"/>
                </a:ext>
              </a:extLst>
            </p:cNvPr>
            <p:cNvSpPr/>
            <p:nvPr/>
          </p:nvSpPr>
          <p:spPr>
            <a:xfrm>
              <a:off x="941021" y="3967"/>
              <a:ext cx="1495484" cy="1818661"/>
            </a:xfrm>
            <a:custGeom>
              <a:avLst/>
              <a:gdLst>
                <a:gd name="connsiteX0" fmla="*/ 1498646 w 1495484"/>
                <a:gd name="connsiteY0" fmla="*/ 3162 h 1818661"/>
                <a:gd name="connsiteX1" fmla="*/ 91877 w 1495484"/>
                <a:gd name="connsiteY1" fmla="*/ 1523993 h 1818661"/>
                <a:gd name="connsiteX2" fmla="*/ 3162 w 1495484"/>
                <a:gd name="connsiteY2" fmla="*/ 1821823 h 1818661"/>
                <a:gd name="connsiteX3" fmla="*/ 1422605 w 1495484"/>
                <a:gd name="connsiteY3" fmla="*/ 1328820 h 181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484" h="1818661">
                  <a:moveTo>
                    <a:pt x="1498646" y="3162"/>
                  </a:moveTo>
                  <a:lnTo>
                    <a:pt x="91877" y="1523993"/>
                  </a:lnTo>
                  <a:lnTo>
                    <a:pt x="3162" y="1821823"/>
                  </a:lnTo>
                  <a:lnTo>
                    <a:pt x="1422605" y="132882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348588E0-565E-471E-A7DE-E0891E95EF59}"/>
                </a:ext>
              </a:extLst>
            </p:cNvPr>
            <p:cNvSpPr/>
            <p:nvPr/>
          </p:nvSpPr>
          <p:spPr>
            <a:xfrm>
              <a:off x="-3162" y="3967"/>
              <a:ext cx="2439667" cy="2648782"/>
            </a:xfrm>
            <a:custGeom>
              <a:avLst/>
              <a:gdLst>
                <a:gd name="connsiteX0" fmla="*/ 3162 w 2439667"/>
                <a:gd name="connsiteY0" fmla="*/ 3162 h 2648781"/>
                <a:gd name="connsiteX1" fmla="*/ 2442829 w 2439667"/>
                <a:gd name="connsiteY1" fmla="*/ 3162 h 2648781"/>
                <a:gd name="connsiteX2" fmla="*/ 3162 w 2439667"/>
                <a:gd name="connsiteY2" fmla="*/ 2651944 h 2648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9667" h="2648781">
                  <a:moveTo>
                    <a:pt x="3162" y="3162"/>
                  </a:moveTo>
                  <a:lnTo>
                    <a:pt x="2442829" y="3162"/>
                  </a:lnTo>
                  <a:lnTo>
                    <a:pt x="3162" y="2651944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B056184-4C3A-4135-B197-7F4BF884A244}"/>
                </a:ext>
              </a:extLst>
            </p:cNvPr>
            <p:cNvSpPr/>
            <p:nvPr/>
          </p:nvSpPr>
          <p:spPr>
            <a:xfrm>
              <a:off x="9330942" y="593289"/>
              <a:ext cx="2636108" cy="1799651"/>
            </a:xfrm>
            <a:custGeom>
              <a:avLst/>
              <a:gdLst>
                <a:gd name="connsiteX0" fmla="*/ 2639270 w 2636108"/>
                <a:gd name="connsiteY0" fmla="*/ 1802813 h 1799650"/>
                <a:gd name="connsiteX1" fmla="*/ 700210 w 2636108"/>
                <a:gd name="connsiteY1" fmla="*/ 1663403 h 1799650"/>
                <a:gd name="connsiteX2" fmla="*/ 3162 w 2636108"/>
                <a:gd name="connsiteY2" fmla="*/ 3162 h 179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36108" h="1799650">
                  <a:moveTo>
                    <a:pt x="2639270" y="1802813"/>
                  </a:moveTo>
                  <a:lnTo>
                    <a:pt x="700210" y="1663403"/>
                  </a:lnTo>
                  <a:lnTo>
                    <a:pt x="3162" y="3162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AAC4795-AB14-456A-B943-DDDBE6FD4B57}"/>
                </a:ext>
              </a:extLst>
            </p:cNvPr>
            <p:cNvSpPr/>
            <p:nvPr/>
          </p:nvSpPr>
          <p:spPr>
            <a:xfrm>
              <a:off x="9692140" y="4528441"/>
              <a:ext cx="2072133" cy="2097480"/>
            </a:xfrm>
            <a:custGeom>
              <a:avLst/>
              <a:gdLst>
                <a:gd name="connsiteX0" fmla="*/ 2075295 w 2072133"/>
                <a:gd name="connsiteY0" fmla="*/ 123561 h 2097480"/>
                <a:gd name="connsiteX1" fmla="*/ 883977 w 2072133"/>
                <a:gd name="connsiteY1" fmla="*/ 2100642 h 2097480"/>
                <a:gd name="connsiteX2" fmla="*/ 3162 w 2072133"/>
                <a:gd name="connsiteY2" fmla="*/ 3162 h 2097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2133" h="2097480">
                  <a:moveTo>
                    <a:pt x="2075295" y="123561"/>
                  </a:moveTo>
                  <a:lnTo>
                    <a:pt x="883977" y="2100642"/>
                  </a:lnTo>
                  <a:lnTo>
                    <a:pt x="3162" y="3162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69833CF-1146-4B8A-AD54-66FBBA6DF5BD}"/>
                </a:ext>
              </a:extLst>
            </p:cNvPr>
            <p:cNvSpPr/>
            <p:nvPr/>
          </p:nvSpPr>
          <p:spPr>
            <a:xfrm>
              <a:off x="9204206" y="4319327"/>
              <a:ext cx="2984632" cy="2528382"/>
            </a:xfrm>
            <a:custGeom>
              <a:avLst/>
              <a:gdLst>
                <a:gd name="connsiteX0" fmla="*/ 2987794 w 2984632"/>
                <a:gd name="connsiteY0" fmla="*/ 2531544 h 2528382"/>
                <a:gd name="connsiteX1" fmla="*/ 3162 w 2984632"/>
                <a:gd name="connsiteY1" fmla="*/ 2531544 h 2528382"/>
                <a:gd name="connsiteX2" fmla="*/ 2987794 w 2984632"/>
                <a:gd name="connsiteY2" fmla="*/ 3162 h 252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84632" h="2528382">
                  <a:moveTo>
                    <a:pt x="2987794" y="2531544"/>
                  </a:moveTo>
                  <a:lnTo>
                    <a:pt x="3162" y="2531544"/>
                  </a:lnTo>
                  <a:lnTo>
                    <a:pt x="2987794" y="3162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783D37A-FB78-4286-A161-C8B9C6FA59FC}"/>
                </a:ext>
              </a:extLst>
            </p:cNvPr>
            <p:cNvSpPr/>
            <p:nvPr/>
          </p:nvSpPr>
          <p:spPr>
            <a:xfrm>
              <a:off x="7765119" y="4528441"/>
              <a:ext cx="1907376" cy="2319268"/>
            </a:xfrm>
            <a:custGeom>
              <a:avLst/>
              <a:gdLst>
                <a:gd name="connsiteX0" fmla="*/ 327606 w 1907376"/>
                <a:gd name="connsiteY0" fmla="*/ 2322430 h 2319268"/>
                <a:gd name="connsiteX1" fmla="*/ 1906736 w 1907376"/>
                <a:gd name="connsiteY1" fmla="*/ 2322430 h 2319268"/>
                <a:gd name="connsiteX2" fmla="*/ 333309 w 1907376"/>
                <a:gd name="connsiteY2" fmla="*/ 3162 h 2319268"/>
                <a:gd name="connsiteX3" fmla="*/ 3162 w 1907376"/>
                <a:gd name="connsiteY3" fmla="*/ 1876953 h 2319268"/>
                <a:gd name="connsiteX4" fmla="*/ 795895 w 1907376"/>
                <a:gd name="connsiteY4" fmla="*/ 1923212 h 2319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7376" h="2319268">
                  <a:moveTo>
                    <a:pt x="327606" y="2322430"/>
                  </a:moveTo>
                  <a:lnTo>
                    <a:pt x="1906736" y="2322430"/>
                  </a:lnTo>
                  <a:lnTo>
                    <a:pt x="333309" y="3162"/>
                  </a:lnTo>
                  <a:lnTo>
                    <a:pt x="3162" y="1876953"/>
                  </a:lnTo>
                  <a:lnTo>
                    <a:pt x="795895" y="19232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9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430CB618-3D6B-4CC3-8792-849A4D433037}"/>
                </a:ext>
              </a:extLst>
            </p:cNvPr>
            <p:cNvSpPr/>
            <p:nvPr/>
          </p:nvSpPr>
          <p:spPr>
            <a:xfrm>
              <a:off x="6424253" y="6328092"/>
              <a:ext cx="2135501" cy="519617"/>
            </a:xfrm>
            <a:custGeom>
              <a:avLst/>
              <a:gdLst>
                <a:gd name="connsiteX0" fmla="*/ 1344029 w 2135501"/>
                <a:gd name="connsiteY0" fmla="*/ 77302 h 519617"/>
                <a:gd name="connsiteX1" fmla="*/ 64629 w 2135501"/>
                <a:gd name="connsiteY1" fmla="*/ 3162 h 519617"/>
                <a:gd name="connsiteX2" fmla="*/ 3162 w 2135501"/>
                <a:gd name="connsiteY2" fmla="*/ 522779 h 519617"/>
                <a:gd name="connsiteX3" fmla="*/ 1266086 w 2135501"/>
                <a:gd name="connsiteY3" fmla="*/ 522779 h 519617"/>
                <a:gd name="connsiteX4" fmla="*/ 1668472 w 2135501"/>
                <a:gd name="connsiteY4" fmla="*/ 522779 h 519617"/>
                <a:gd name="connsiteX5" fmla="*/ 2136762 w 2135501"/>
                <a:gd name="connsiteY5" fmla="*/ 123561 h 51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35501" h="519617">
                  <a:moveTo>
                    <a:pt x="1344029" y="77302"/>
                  </a:moveTo>
                  <a:lnTo>
                    <a:pt x="64629" y="3162"/>
                  </a:lnTo>
                  <a:lnTo>
                    <a:pt x="3162" y="522779"/>
                  </a:lnTo>
                  <a:lnTo>
                    <a:pt x="1266086" y="522779"/>
                  </a:lnTo>
                  <a:lnTo>
                    <a:pt x="1668472" y="522779"/>
                  </a:lnTo>
                  <a:lnTo>
                    <a:pt x="2136762" y="123561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11FDDEE-E7AA-4E23-BB4B-33258A22F884}"/>
                </a:ext>
              </a:extLst>
            </p:cNvPr>
            <p:cNvSpPr/>
            <p:nvPr/>
          </p:nvSpPr>
          <p:spPr>
            <a:xfrm>
              <a:off x="10306809" y="3967"/>
              <a:ext cx="1882029" cy="2927601"/>
            </a:xfrm>
            <a:custGeom>
              <a:avLst/>
              <a:gdLst>
                <a:gd name="connsiteX0" fmla="*/ 908690 w 1882029"/>
                <a:gd name="connsiteY0" fmla="*/ 3162 h 2927600"/>
                <a:gd name="connsiteX1" fmla="*/ 518344 w 1882029"/>
                <a:gd name="connsiteY1" fmla="*/ 3162 h 2927600"/>
                <a:gd name="connsiteX2" fmla="*/ 3162 w 1882029"/>
                <a:gd name="connsiteY2" fmla="*/ 2930763 h 2927600"/>
                <a:gd name="connsiteX3" fmla="*/ 1885191 w 1882029"/>
                <a:gd name="connsiteY3" fmla="*/ 2208368 h 2927600"/>
                <a:gd name="connsiteX4" fmla="*/ 1885191 w 1882029"/>
                <a:gd name="connsiteY4" fmla="*/ 1442882 h 292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2029" h="2927600">
                  <a:moveTo>
                    <a:pt x="908690" y="3162"/>
                  </a:moveTo>
                  <a:lnTo>
                    <a:pt x="518344" y="3162"/>
                  </a:lnTo>
                  <a:lnTo>
                    <a:pt x="3162" y="2930763"/>
                  </a:lnTo>
                  <a:lnTo>
                    <a:pt x="1885191" y="2208368"/>
                  </a:lnTo>
                  <a:lnTo>
                    <a:pt x="1885191" y="144288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9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481FE25-C6FB-451A-8B81-3BD165443CCD}"/>
                </a:ext>
              </a:extLst>
            </p:cNvPr>
            <p:cNvSpPr/>
            <p:nvPr/>
          </p:nvSpPr>
          <p:spPr>
            <a:xfrm>
              <a:off x="-3162" y="3967"/>
              <a:ext cx="1495484" cy="2255900"/>
            </a:xfrm>
            <a:custGeom>
              <a:avLst/>
              <a:gdLst>
                <a:gd name="connsiteX0" fmla="*/ 1498646 w 1495484"/>
                <a:gd name="connsiteY0" fmla="*/ 3162 h 2255900"/>
                <a:gd name="connsiteX1" fmla="*/ 3162 w 1495484"/>
                <a:gd name="connsiteY1" fmla="*/ 3162 h 2255900"/>
                <a:gd name="connsiteX2" fmla="*/ 3162 w 1495484"/>
                <a:gd name="connsiteY2" fmla="*/ 1821823 h 2255900"/>
                <a:gd name="connsiteX3" fmla="*/ 814272 w 1495484"/>
                <a:gd name="connsiteY3" fmla="*/ 2259062 h 225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5484" h="2255900">
                  <a:moveTo>
                    <a:pt x="1498646" y="3162"/>
                  </a:moveTo>
                  <a:lnTo>
                    <a:pt x="3162" y="3162"/>
                  </a:lnTo>
                  <a:lnTo>
                    <a:pt x="3162" y="1821823"/>
                  </a:lnTo>
                  <a:lnTo>
                    <a:pt x="814272" y="2259062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 w="633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2117170F-66DD-B5C9-8B99-0C7C82CD876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466868" y="1229899"/>
            <a:ext cx="6074695" cy="434926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altLang="zh-CN" dirty="0"/>
              <a:t>Par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51906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853797AC-212E-4E79-8C63-164AAD795717}"/>
              </a:ext>
            </a:extLst>
          </p:cNvPr>
          <p:cNvSpPr>
            <a:spLocks/>
          </p:cNvSpPr>
          <p:nvPr userDrawn="1"/>
        </p:nvSpPr>
        <p:spPr bwMode="auto">
          <a:xfrm>
            <a:off x="944810" y="-20638"/>
            <a:ext cx="2546223" cy="1273634"/>
          </a:xfrm>
          <a:custGeom>
            <a:avLst/>
            <a:gdLst>
              <a:gd name="T0" fmla="*/ 0 w 2437"/>
              <a:gd name="T1" fmla="*/ 0 h 1219"/>
              <a:gd name="T2" fmla="*/ 1218 w 2437"/>
              <a:gd name="T3" fmla="*/ 1219 h 1219"/>
              <a:gd name="T4" fmla="*/ 2437 w 2437"/>
              <a:gd name="T5" fmla="*/ 0 h 1219"/>
              <a:gd name="T6" fmla="*/ 0 w 2437"/>
              <a:gd name="T7" fmla="*/ 0 h 1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37" h="1219">
                <a:moveTo>
                  <a:pt x="0" y="0"/>
                </a:moveTo>
                <a:lnTo>
                  <a:pt x="1218" y="1219"/>
                </a:lnTo>
                <a:lnTo>
                  <a:pt x="243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11618A29-F8FA-476E-9994-2D6021FDA8AB}"/>
              </a:ext>
            </a:extLst>
          </p:cNvPr>
          <p:cNvSpPr>
            <a:spLocks/>
          </p:cNvSpPr>
          <p:nvPr userDrawn="1"/>
        </p:nvSpPr>
        <p:spPr bwMode="auto">
          <a:xfrm>
            <a:off x="1636923" y="-20638"/>
            <a:ext cx="2939272" cy="1487063"/>
          </a:xfrm>
          <a:custGeom>
            <a:avLst/>
            <a:gdLst>
              <a:gd name="T0" fmla="*/ 11 w 2024"/>
              <a:gd name="T1" fmla="*/ 0 h 1024"/>
              <a:gd name="T2" fmla="*/ 0 w 2024"/>
              <a:gd name="T3" fmla="*/ 12 h 1024"/>
              <a:gd name="T4" fmla="*/ 1012 w 2024"/>
              <a:gd name="T5" fmla="*/ 1024 h 1024"/>
              <a:gd name="T6" fmla="*/ 2024 w 2024"/>
              <a:gd name="T7" fmla="*/ 12 h 1024"/>
              <a:gd name="T8" fmla="*/ 2012 w 2024"/>
              <a:gd name="T9" fmla="*/ 0 h 1024"/>
              <a:gd name="T10" fmla="*/ 11 w 2024"/>
              <a:gd name="T11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24" h="1024">
                <a:moveTo>
                  <a:pt x="11" y="0"/>
                </a:moveTo>
                <a:lnTo>
                  <a:pt x="0" y="12"/>
                </a:lnTo>
                <a:lnTo>
                  <a:pt x="1012" y="1024"/>
                </a:lnTo>
                <a:lnTo>
                  <a:pt x="2024" y="12"/>
                </a:lnTo>
                <a:lnTo>
                  <a:pt x="2012" y="0"/>
                </a:lnTo>
                <a:lnTo>
                  <a:pt x="1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368BAEFB-41E4-48BE-BF4E-736744BF2298}"/>
              </a:ext>
            </a:extLst>
          </p:cNvPr>
          <p:cNvSpPr>
            <a:spLocks/>
          </p:cNvSpPr>
          <p:nvPr userDrawn="1"/>
        </p:nvSpPr>
        <p:spPr bwMode="auto">
          <a:xfrm>
            <a:off x="1845978" y="1386855"/>
            <a:ext cx="1139919" cy="1137215"/>
          </a:xfrm>
          <a:custGeom>
            <a:avLst/>
            <a:gdLst>
              <a:gd name="T0" fmla="*/ 1265 w 1265"/>
              <a:gd name="T1" fmla="*/ 631 h 1262"/>
              <a:gd name="T2" fmla="*/ 632 w 1265"/>
              <a:gd name="T3" fmla="*/ 1262 h 1262"/>
              <a:gd name="T4" fmla="*/ 0 w 1265"/>
              <a:gd name="T5" fmla="*/ 631 h 1262"/>
              <a:gd name="T6" fmla="*/ 632 w 1265"/>
              <a:gd name="T7" fmla="*/ 0 h 1262"/>
              <a:gd name="T8" fmla="*/ 1265 w 1265"/>
              <a:gd name="T9" fmla="*/ 631 h 1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5" h="1262">
                <a:moveTo>
                  <a:pt x="1265" y="631"/>
                </a:moveTo>
                <a:lnTo>
                  <a:pt x="632" y="1262"/>
                </a:lnTo>
                <a:lnTo>
                  <a:pt x="0" y="631"/>
                </a:lnTo>
                <a:lnTo>
                  <a:pt x="632" y="0"/>
                </a:lnTo>
                <a:lnTo>
                  <a:pt x="1265" y="631"/>
                </a:lnTo>
                <a:close/>
              </a:path>
            </a:pathLst>
          </a:custGeom>
          <a:noFill/>
          <a:ln w="1111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63E06575-55F0-4478-92A0-D150BAAA471F}"/>
              </a:ext>
            </a:extLst>
          </p:cNvPr>
          <p:cNvSpPr>
            <a:spLocks/>
          </p:cNvSpPr>
          <p:nvPr userDrawn="1"/>
        </p:nvSpPr>
        <p:spPr bwMode="auto">
          <a:xfrm>
            <a:off x="2762250" y="2092325"/>
            <a:ext cx="865188" cy="863600"/>
          </a:xfrm>
          <a:custGeom>
            <a:avLst/>
            <a:gdLst>
              <a:gd name="T0" fmla="*/ 272 w 545"/>
              <a:gd name="T1" fmla="*/ 544 h 544"/>
              <a:gd name="T2" fmla="*/ 0 w 545"/>
              <a:gd name="T3" fmla="*/ 272 h 544"/>
              <a:gd name="T4" fmla="*/ 272 w 545"/>
              <a:gd name="T5" fmla="*/ 0 h 544"/>
              <a:gd name="T6" fmla="*/ 545 w 545"/>
              <a:gd name="T7" fmla="*/ 272 h 544"/>
              <a:gd name="T8" fmla="*/ 272 w 545"/>
              <a:gd name="T9" fmla="*/ 544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45" h="544">
                <a:moveTo>
                  <a:pt x="272" y="544"/>
                </a:moveTo>
                <a:lnTo>
                  <a:pt x="0" y="272"/>
                </a:lnTo>
                <a:lnTo>
                  <a:pt x="272" y="0"/>
                </a:lnTo>
                <a:lnTo>
                  <a:pt x="545" y="272"/>
                </a:lnTo>
                <a:lnTo>
                  <a:pt x="272" y="54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8DC87504-5291-4FB5-9E3A-64FB3F201933}"/>
              </a:ext>
            </a:extLst>
          </p:cNvPr>
          <p:cNvSpPr>
            <a:spLocks/>
          </p:cNvSpPr>
          <p:nvPr userDrawn="1"/>
        </p:nvSpPr>
        <p:spPr bwMode="auto">
          <a:xfrm>
            <a:off x="1839496" y="2940157"/>
            <a:ext cx="576441" cy="575383"/>
          </a:xfrm>
          <a:custGeom>
            <a:avLst/>
            <a:gdLst>
              <a:gd name="T0" fmla="*/ 272 w 545"/>
              <a:gd name="T1" fmla="*/ 544 h 544"/>
              <a:gd name="T2" fmla="*/ 0 w 545"/>
              <a:gd name="T3" fmla="*/ 272 h 544"/>
              <a:gd name="T4" fmla="*/ 272 w 545"/>
              <a:gd name="T5" fmla="*/ 0 h 544"/>
              <a:gd name="T6" fmla="*/ 545 w 545"/>
              <a:gd name="T7" fmla="*/ 272 h 544"/>
              <a:gd name="T8" fmla="*/ 272 w 545"/>
              <a:gd name="T9" fmla="*/ 544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45" h="544">
                <a:moveTo>
                  <a:pt x="272" y="544"/>
                </a:moveTo>
                <a:lnTo>
                  <a:pt x="0" y="272"/>
                </a:lnTo>
                <a:lnTo>
                  <a:pt x="272" y="0"/>
                </a:lnTo>
                <a:lnTo>
                  <a:pt x="545" y="272"/>
                </a:lnTo>
                <a:lnTo>
                  <a:pt x="272" y="54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76195" y="65222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76195" y="1860606"/>
            <a:ext cx="5419185" cy="4043237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E56F6D65-1E3B-4347-B44A-187C16606655}"/>
              </a:ext>
            </a:extLst>
          </p:cNvPr>
          <p:cNvSpPr>
            <a:spLocks/>
          </p:cNvSpPr>
          <p:nvPr userDrawn="1"/>
        </p:nvSpPr>
        <p:spPr bwMode="auto">
          <a:xfrm>
            <a:off x="3195638" y="1258888"/>
            <a:ext cx="592137" cy="590550"/>
          </a:xfrm>
          <a:custGeom>
            <a:avLst/>
            <a:gdLst>
              <a:gd name="T0" fmla="*/ 186 w 373"/>
              <a:gd name="T1" fmla="*/ 372 h 372"/>
              <a:gd name="T2" fmla="*/ 0 w 373"/>
              <a:gd name="T3" fmla="*/ 186 h 372"/>
              <a:gd name="T4" fmla="*/ 186 w 373"/>
              <a:gd name="T5" fmla="*/ 0 h 372"/>
              <a:gd name="T6" fmla="*/ 373 w 373"/>
              <a:gd name="T7" fmla="*/ 186 h 372"/>
              <a:gd name="T8" fmla="*/ 186 w 373"/>
              <a:gd name="T9" fmla="*/ 372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3" h="372">
                <a:moveTo>
                  <a:pt x="186" y="372"/>
                </a:moveTo>
                <a:lnTo>
                  <a:pt x="0" y="186"/>
                </a:lnTo>
                <a:lnTo>
                  <a:pt x="186" y="0"/>
                </a:lnTo>
                <a:lnTo>
                  <a:pt x="373" y="186"/>
                </a:lnTo>
                <a:lnTo>
                  <a:pt x="186" y="3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D1279648-9C72-495F-B751-8107C789995D}"/>
              </a:ext>
            </a:extLst>
          </p:cNvPr>
          <p:cNvSpPr/>
          <p:nvPr/>
        </p:nvSpPr>
        <p:spPr>
          <a:xfrm>
            <a:off x="9324975" y="587375"/>
            <a:ext cx="2647950" cy="1809750"/>
          </a:xfrm>
          <a:custGeom>
            <a:avLst/>
            <a:gdLst>
              <a:gd name="connsiteX0" fmla="*/ 2644775 w 2647950"/>
              <a:gd name="connsiteY0" fmla="*/ 1806575 h 1809750"/>
              <a:gd name="connsiteX1" fmla="*/ 701675 w 2647950"/>
              <a:gd name="connsiteY1" fmla="*/ 1666875 h 1809750"/>
              <a:gd name="connsiteX2" fmla="*/ 3175 w 2647950"/>
              <a:gd name="connsiteY2" fmla="*/ 3175 h 180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47950" h="1809750">
                <a:moveTo>
                  <a:pt x="2644775" y="1806575"/>
                </a:moveTo>
                <a:lnTo>
                  <a:pt x="701675" y="1666875"/>
                </a:lnTo>
                <a:lnTo>
                  <a:pt x="3175" y="3175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C699D3D0-4F50-40B6-930C-912DB895BF49}"/>
              </a:ext>
            </a:extLst>
          </p:cNvPr>
          <p:cNvSpPr/>
          <p:nvPr/>
        </p:nvSpPr>
        <p:spPr>
          <a:xfrm>
            <a:off x="9686925" y="4530725"/>
            <a:ext cx="2082800" cy="2108200"/>
          </a:xfrm>
          <a:custGeom>
            <a:avLst/>
            <a:gdLst>
              <a:gd name="connsiteX0" fmla="*/ 2079625 w 2082800"/>
              <a:gd name="connsiteY0" fmla="*/ 123825 h 2108200"/>
              <a:gd name="connsiteX1" fmla="*/ 885825 w 2082800"/>
              <a:gd name="connsiteY1" fmla="*/ 2105025 h 2108200"/>
              <a:gd name="connsiteX2" fmla="*/ 3175 w 2082800"/>
              <a:gd name="connsiteY2" fmla="*/ 3175 h 210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82800" h="2108200">
                <a:moveTo>
                  <a:pt x="2079625" y="123825"/>
                </a:moveTo>
                <a:lnTo>
                  <a:pt x="885825" y="2105025"/>
                </a:lnTo>
                <a:lnTo>
                  <a:pt x="3175" y="3175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37FA769-54AD-476A-9311-4A16D45035B9}"/>
              </a:ext>
            </a:extLst>
          </p:cNvPr>
          <p:cNvSpPr/>
          <p:nvPr/>
        </p:nvSpPr>
        <p:spPr>
          <a:xfrm>
            <a:off x="9197975" y="4321175"/>
            <a:ext cx="2997200" cy="2540000"/>
          </a:xfrm>
          <a:custGeom>
            <a:avLst/>
            <a:gdLst>
              <a:gd name="connsiteX0" fmla="*/ 2994025 w 2997200"/>
              <a:gd name="connsiteY0" fmla="*/ 2536825 h 2540000"/>
              <a:gd name="connsiteX1" fmla="*/ 3175 w 2997200"/>
              <a:gd name="connsiteY1" fmla="*/ 2536825 h 2540000"/>
              <a:gd name="connsiteX2" fmla="*/ 2994025 w 2997200"/>
              <a:gd name="connsiteY2" fmla="*/ 3175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97200" h="2540000">
                <a:moveTo>
                  <a:pt x="2994025" y="2536825"/>
                </a:moveTo>
                <a:lnTo>
                  <a:pt x="3175" y="2536825"/>
                </a:lnTo>
                <a:lnTo>
                  <a:pt x="2994025" y="3175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2B766074-1B64-4EBA-9858-C88C33954BE7}"/>
              </a:ext>
            </a:extLst>
          </p:cNvPr>
          <p:cNvSpPr/>
          <p:nvPr/>
        </p:nvSpPr>
        <p:spPr>
          <a:xfrm>
            <a:off x="7755890" y="4530725"/>
            <a:ext cx="1911350" cy="2330450"/>
          </a:xfrm>
          <a:custGeom>
            <a:avLst/>
            <a:gdLst>
              <a:gd name="connsiteX0" fmla="*/ 328295 w 1911350"/>
              <a:gd name="connsiteY0" fmla="*/ 2327275 h 2330450"/>
              <a:gd name="connsiteX1" fmla="*/ 1910715 w 1911350"/>
              <a:gd name="connsiteY1" fmla="*/ 2327275 h 2330450"/>
              <a:gd name="connsiteX2" fmla="*/ 334010 w 1911350"/>
              <a:gd name="connsiteY2" fmla="*/ 3175 h 2330450"/>
              <a:gd name="connsiteX3" fmla="*/ 3175 w 1911350"/>
              <a:gd name="connsiteY3" fmla="*/ 1880870 h 2330450"/>
              <a:gd name="connsiteX4" fmla="*/ 797560 w 1911350"/>
              <a:gd name="connsiteY4" fmla="*/ 1927225 h 233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1350" h="2330450">
                <a:moveTo>
                  <a:pt x="328295" y="2327275"/>
                </a:moveTo>
                <a:lnTo>
                  <a:pt x="1910715" y="2327275"/>
                </a:lnTo>
                <a:lnTo>
                  <a:pt x="334010" y="3175"/>
                </a:lnTo>
                <a:lnTo>
                  <a:pt x="3175" y="1880870"/>
                </a:lnTo>
                <a:lnTo>
                  <a:pt x="797560" y="1927225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39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4F88F40E-8606-409D-982E-6D97BC7A92EB}"/>
              </a:ext>
            </a:extLst>
          </p:cNvPr>
          <p:cNvSpPr/>
          <p:nvPr/>
        </p:nvSpPr>
        <p:spPr>
          <a:xfrm>
            <a:off x="6412230" y="6334125"/>
            <a:ext cx="2139950" cy="527050"/>
          </a:xfrm>
          <a:custGeom>
            <a:avLst/>
            <a:gdLst>
              <a:gd name="connsiteX0" fmla="*/ 1346835 w 2139950"/>
              <a:gd name="connsiteY0" fmla="*/ 77470 h 527050"/>
              <a:gd name="connsiteX1" fmla="*/ 64770 w 2139950"/>
              <a:gd name="connsiteY1" fmla="*/ 3175 h 527050"/>
              <a:gd name="connsiteX2" fmla="*/ 3175 w 2139950"/>
              <a:gd name="connsiteY2" fmla="*/ 523875 h 527050"/>
              <a:gd name="connsiteX3" fmla="*/ 1268730 w 2139950"/>
              <a:gd name="connsiteY3" fmla="*/ 523875 h 527050"/>
              <a:gd name="connsiteX4" fmla="*/ 1671955 w 2139950"/>
              <a:gd name="connsiteY4" fmla="*/ 523875 h 527050"/>
              <a:gd name="connsiteX5" fmla="*/ 2141220 w 2139950"/>
              <a:gd name="connsiteY5" fmla="*/ 123825 h 52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9950" h="527050">
                <a:moveTo>
                  <a:pt x="1346835" y="77470"/>
                </a:moveTo>
                <a:lnTo>
                  <a:pt x="64770" y="3175"/>
                </a:lnTo>
                <a:lnTo>
                  <a:pt x="3175" y="523875"/>
                </a:lnTo>
                <a:lnTo>
                  <a:pt x="1268730" y="523875"/>
                </a:lnTo>
                <a:lnTo>
                  <a:pt x="1671955" y="523875"/>
                </a:lnTo>
                <a:lnTo>
                  <a:pt x="2141220" y="123825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0F718C11-5486-422F-96FE-24C341FBD2F1}"/>
              </a:ext>
            </a:extLst>
          </p:cNvPr>
          <p:cNvSpPr/>
          <p:nvPr/>
        </p:nvSpPr>
        <p:spPr>
          <a:xfrm>
            <a:off x="10302875" y="-3175"/>
            <a:ext cx="1892300" cy="2940050"/>
          </a:xfrm>
          <a:custGeom>
            <a:avLst/>
            <a:gdLst>
              <a:gd name="connsiteX0" fmla="*/ 910590 w 1892300"/>
              <a:gd name="connsiteY0" fmla="*/ 3175 h 2940050"/>
              <a:gd name="connsiteX1" fmla="*/ 519430 w 1892300"/>
              <a:gd name="connsiteY1" fmla="*/ 3175 h 2940050"/>
              <a:gd name="connsiteX2" fmla="*/ 3175 w 1892300"/>
              <a:gd name="connsiteY2" fmla="*/ 2936875 h 2940050"/>
              <a:gd name="connsiteX3" fmla="*/ 1889125 w 1892300"/>
              <a:gd name="connsiteY3" fmla="*/ 2212975 h 2940050"/>
              <a:gd name="connsiteX4" fmla="*/ 1889125 w 1892300"/>
              <a:gd name="connsiteY4" fmla="*/ 1445895 h 294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92300" h="2940050">
                <a:moveTo>
                  <a:pt x="910590" y="3175"/>
                </a:moveTo>
                <a:lnTo>
                  <a:pt x="519430" y="3175"/>
                </a:lnTo>
                <a:lnTo>
                  <a:pt x="3175" y="2936875"/>
                </a:lnTo>
                <a:lnTo>
                  <a:pt x="1889125" y="2212975"/>
                </a:lnTo>
                <a:lnTo>
                  <a:pt x="1889125" y="1445895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39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1069943" y="5715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1069943" y="1825487"/>
            <a:ext cx="5419185" cy="3919330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6642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608A0000-0867-4279-9D67-1EFCCEC070AC}"/>
              </a:ext>
            </a:extLst>
          </p:cNvPr>
          <p:cNvSpPr/>
          <p:nvPr/>
        </p:nvSpPr>
        <p:spPr>
          <a:xfrm>
            <a:off x="3034259" y="218806"/>
            <a:ext cx="1105476" cy="1105476"/>
          </a:xfrm>
          <a:custGeom>
            <a:avLst/>
            <a:gdLst>
              <a:gd name="connsiteX0" fmla="*/ 8990 w 1105475"/>
              <a:gd name="connsiteY0" fmla="*/ 555268 h 1105475"/>
              <a:gd name="connsiteX1" fmla="*/ 555268 w 1105475"/>
              <a:gd name="connsiteY1" fmla="*/ 8990 h 1105475"/>
              <a:gd name="connsiteX2" fmla="*/ 1101547 w 1105475"/>
              <a:gd name="connsiteY2" fmla="*/ 555268 h 1105475"/>
              <a:gd name="connsiteX3" fmla="*/ 555268 w 1105475"/>
              <a:gd name="connsiteY3" fmla="*/ 1101547 h 110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5475" h="1105475">
                <a:moveTo>
                  <a:pt x="8990" y="555268"/>
                </a:moveTo>
                <a:lnTo>
                  <a:pt x="555268" y="8990"/>
                </a:lnTo>
                <a:lnTo>
                  <a:pt x="1101547" y="555268"/>
                </a:lnTo>
                <a:lnTo>
                  <a:pt x="555268" y="1101547"/>
                </a:lnTo>
                <a:close/>
              </a:path>
            </a:pathLst>
          </a:custGeom>
          <a:noFill/>
          <a:ln w="12707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787B7545-CD34-44C7-BA94-D5A52C3479CC}"/>
              </a:ext>
            </a:extLst>
          </p:cNvPr>
          <p:cNvSpPr/>
          <p:nvPr/>
        </p:nvSpPr>
        <p:spPr>
          <a:xfrm>
            <a:off x="-3178" y="2009153"/>
            <a:ext cx="4853928" cy="4853928"/>
          </a:xfrm>
          <a:custGeom>
            <a:avLst/>
            <a:gdLst>
              <a:gd name="connsiteX0" fmla="*/ 3178 w 4853928"/>
              <a:gd name="connsiteY0" fmla="*/ 3178 h 4853928"/>
              <a:gd name="connsiteX1" fmla="*/ 4851389 w 4853928"/>
              <a:gd name="connsiteY1" fmla="*/ 4851389 h 4853928"/>
              <a:gd name="connsiteX2" fmla="*/ 3178 w 4853928"/>
              <a:gd name="connsiteY2" fmla="*/ 4851389 h 4853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53928" h="4853928">
                <a:moveTo>
                  <a:pt x="3178" y="3178"/>
                </a:moveTo>
                <a:lnTo>
                  <a:pt x="4851389" y="4851389"/>
                </a:lnTo>
                <a:lnTo>
                  <a:pt x="3178" y="4851389"/>
                </a:lnTo>
                <a:close/>
              </a:path>
            </a:pathLst>
          </a:custGeom>
          <a:solidFill>
            <a:schemeClr val="accent2"/>
          </a:solidFill>
          <a:ln w="635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74374C9-3C9F-4A38-A9ED-7A78F157C3FB}"/>
              </a:ext>
            </a:extLst>
          </p:cNvPr>
          <p:cNvSpPr/>
          <p:nvPr/>
        </p:nvSpPr>
        <p:spPr>
          <a:xfrm>
            <a:off x="1564742" y="1429821"/>
            <a:ext cx="3977171" cy="3977171"/>
          </a:xfrm>
          <a:custGeom>
            <a:avLst/>
            <a:gdLst>
              <a:gd name="connsiteX0" fmla="*/ 1989248 w 3977171"/>
              <a:gd name="connsiteY0" fmla="*/ 4495 h 3977171"/>
              <a:gd name="connsiteX1" fmla="*/ 3974001 w 3977171"/>
              <a:gd name="connsiteY1" fmla="*/ 1989248 h 3977171"/>
              <a:gd name="connsiteX2" fmla="*/ 1989248 w 3977171"/>
              <a:gd name="connsiteY2" fmla="*/ 3974001 h 3977171"/>
              <a:gd name="connsiteX3" fmla="*/ 4495 w 3977171"/>
              <a:gd name="connsiteY3" fmla="*/ 1989248 h 3977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7171" h="3977171">
                <a:moveTo>
                  <a:pt x="1989248" y="4495"/>
                </a:moveTo>
                <a:lnTo>
                  <a:pt x="3974001" y="1989248"/>
                </a:lnTo>
                <a:lnTo>
                  <a:pt x="1989248" y="3974001"/>
                </a:lnTo>
                <a:lnTo>
                  <a:pt x="4495" y="1989248"/>
                </a:lnTo>
                <a:close/>
              </a:path>
            </a:pathLst>
          </a:custGeom>
          <a:solidFill>
            <a:schemeClr val="accent1"/>
          </a:solidFill>
          <a:ln w="635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F1CA469-9DF1-40DF-B97D-D2F3D22953AB}"/>
              </a:ext>
            </a:extLst>
          </p:cNvPr>
          <p:cNvSpPr/>
          <p:nvPr/>
        </p:nvSpPr>
        <p:spPr>
          <a:xfrm>
            <a:off x="617528" y="1618466"/>
            <a:ext cx="1702687" cy="1702687"/>
          </a:xfrm>
          <a:custGeom>
            <a:avLst/>
            <a:gdLst>
              <a:gd name="connsiteX0" fmla="*/ 854012 w 1702686"/>
              <a:gd name="connsiteY0" fmla="*/ 4495 h 1702686"/>
              <a:gd name="connsiteX1" fmla="*/ 1703530 w 1702686"/>
              <a:gd name="connsiteY1" fmla="*/ 854012 h 1702686"/>
              <a:gd name="connsiteX2" fmla="*/ 854012 w 1702686"/>
              <a:gd name="connsiteY2" fmla="*/ 1703530 h 1702686"/>
              <a:gd name="connsiteX3" fmla="*/ 4495 w 1702686"/>
              <a:gd name="connsiteY3" fmla="*/ 854012 h 1702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2686" h="1702686">
                <a:moveTo>
                  <a:pt x="854012" y="4495"/>
                </a:moveTo>
                <a:lnTo>
                  <a:pt x="1703530" y="854012"/>
                </a:lnTo>
                <a:lnTo>
                  <a:pt x="854012" y="1703530"/>
                </a:lnTo>
                <a:lnTo>
                  <a:pt x="4495" y="854012"/>
                </a:lnTo>
                <a:close/>
              </a:path>
            </a:pathLst>
          </a:custGeom>
          <a:solidFill>
            <a:schemeClr val="accent1"/>
          </a:solidFill>
          <a:ln w="635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B6EB675E-8E37-49DE-AE2F-8B057CE3E1DA}"/>
              </a:ext>
            </a:extLst>
          </p:cNvPr>
          <p:cNvSpPr/>
          <p:nvPr/>
        </p:nvSpPr>
        <p:spPr>
          <a:xfrm>
            <a:off x="6829806" y="2399881"/>
            <a:ext cx="5362193" cy="2045766"/>
          </a:xfrm>
          <a:custGeom>
            <a:avLst/>
            <a:gdLst>
              <a:gd name="connsiteX0" fmla="*/ 3178 w 5362192"/>
              <a:gd name="connsiteY0" fmla="*/ 3178 h 2045765"/>
              <a:gd name="connsiteX1" fmla="*/ 5359018 w 5362192"/>
              <a:gd name="connsiteY1" fmla="*/ 3178 h 2045765"/>
              <a:gd name="connsiteX2" fmla="*/ 5359018 w 5362192"/>
              <a:gd name="connsiteY2" fmla="*/ 2047673 h 2045765"/>
              <a:gd name="connsiteX3" fmla="*/ 3178 w 5362192"/>
              <a:gd name="connsiteY3" fmla="*/ 2047673 h 2045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2192" h="2045765">
                <a:moveTo>
                  <a:pt x="3178" y="3178"/>
                </a:moveTo>
                <a:lnTo>
                  <a:pt x="5359018" y="3178"/>
                </a:lnTo>
                <a:lnTo>
                  <a:pt x="5359018" y="2047673"/>
                </a:lnTo>
                <a:lnTo>
                  <a:pt x="3178" y="2047673"/>
                </a:lnTo>
                <a:close/>
              </a:path>
            </a:pathLst>
          </a:custGeom>
          <a:solidFill>
            <a:schemeClr val="accent1"/>
          </a:solidFill>
          <a:ln w="635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DC8B1B29-8B5B-4471-9B3A-BB4EE65F536B}"/>
              </a:ext>
            </a:extLst>
          </p:cNvPr>
          <p:cNvSpPr/>
          <p:nvPr/>
        </p:nvSpPr>
        <p:spPr>
          <a:xfrm>
            <a:off x="3630523" y="4891972"/>
            <a:ext cx="1207129" cy="1207129"/>
          </a:xfrm>
          <a:custGeom>
            <a:avLst/>
            <a:gdLst>
              <a:gd name="connsiteX0" fmla="*/ 606480 w 1207128"/>
              <a:gd name="connsiteY0" fmla="*/ 4495 h 1207128"/>
              <a:gd name="connsiteX1" fmla="*/ 1208465 w 1207128"/>
              <a:gd name="connsiteY1" fmla="*/ 606480 h 1207128"/>
              <a:gd name="connsiteX2" fmla="*/ 606480 w 1207128"/>
              <a:gd name="connsiteY2" fmla="*/ 1208465 h 1207128"/>
              <a:gd name="connsiteX3" fmla="*/ 4495 w 1207128"/>
              <a:gd name="connsiteY3" fmla="*/ 606480 h 12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7128" h="1207128">
                <a:moveTo>
                  <a:pt x="606480" y="4495"/>
                </a:moveTo>
                <a:lnTo>
                  <a:pt x="1208465" y="606480"/>
                </a:lnTo>
                <a:lnTo>
                  <a:pt x="606480" y="1208465"/>
                </a:lnTo>
                <a:lnTo>
                  <a:pt x="4495" y="606480"/>
                </a:lnTo>
                <a:close/>
              </a:path>
            </a:pathLst>
          </a:custGeom>
          <a:solidFill>
            <a:schemeClr val="accent2"/>
          </a:solidFill>
          <a:ln w="6353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77A2F06-FE1D-4FCE-8199-2EDEB8124512}"/>
              </a:ext>
            </a:extLst>
          </p:cNvPr>
          <p:cNvSpPr/>
          <p:nvPr/>
        </p:nvSpPr>
        <p:spPr>
          <a:xfrm>
            <a:off x="4231535" y="4874296"/>
            <a:ext cx="1232542" cy="1232542"/>
          </a:xfrm>
          <a:custGeom>
            <a:avLst/>
            <a:gdLst>
              <a:gd name="connsiteX0" fmla="*/ 8990 w 1232541"/>
              <a:gd name="connsiteY0" fmla="*/ 616815 h 1232541"/>
              <a:gd name="connsiteX1" fmla="*/ 616815 w 1232541"/>
              <a:gd name="connsiteY1" fmla="*/ 8990 h 1232541"/>
              <a:gd name="connsiteX2" fmla="*/ 1224640 w 1232541"/>
              <a:gd name="connsiteY2" fmla="*/ 616815 h 1232541"/>
              <a:gd name="connsiteX3" fmla="*/ 616815 w 1232541"/>
              <a:gd name="connsiteY3" fmla="*/ 1224640 h 123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41" h="1232541">
                <a:moveTo>
                  <a:pt x="8990" y="616815"/>
                </a:moveTo>
                <a:lnTo>
                  <a:pt x="616815" y="8990"/>
                </a:lnTo>
                <a:lnTo>
                  <a:pt x="1224640" y="616815"/>
                </a:lnTo>
                <a:lnTo>
                  <a:pt x="616815" y="1224640"/>
                </a:lnTo>
                <a:close/>
              </a:path>
            </a:pathLst>
          </a:custGeom>
          <a:noFill/>
          <a:ln w="12707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7109834" y="2399881"/>
            <a:ext cx="446463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109833" y="5022431"/>
            <a:ext cx="446463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09834" y="4726160"/>
            <a:ext cx="446463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4244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5/3/4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5" r:id="rId2"/>
    <p:sldLayoutId id="2147483651" r:id="rId3"/>
    <p:sldLayoutId id="2147483673" r:id="rId4"/>
    <p:sldLayoutId id="2147483661" r:id="rId5"/>
    <p:sldLayoutId id="2147483676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/>
              <a:t>Subtitle her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r>
              <a:rPr lang="en-US" altLang="zh-CN" baseline="30000" dirty="0"/>
              <a:t>®</a:t>
            </a:r>
            <a:r>
              <a:rPr lang="en-US" altLang="zh-CN" dirty="0"/>
              <a:t> PowerPoint standard template</a:t>
            </a:r>
            <a:endParaRPr lang="zh-CN" altLang="en-US" dirty="0"/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9C6CB680-4401-47E0-9078-7BDF33A96442}"/>
              </a:ext>
            </a:extLst>
          </p:cNvPr>
          <p:cNvCxnSpPr>
            <a:cxnSpLocks/>
          </p:cNvCxnSpPr>
          <p:nvPr/>
        </p:nvCxnSpPr>
        <p:spPr>
          <a:xfrm flipH="1">
            <a:off x="9034797" y="4963023"/>
            <a:ext cx="2208814" cy="0"/>
          </a:xfrm>
          <a:prstGeom prst="line">
            <a:avLst/>
          </a:prstGeom>
          <a:ln w="12700">
            <a:solidFill>
              <a:srgbClr val="94C9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ubtitle He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580110" y="298404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rgbClr val="434C57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rgbClr val="434C57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875F597-781A-460C-B5C5-95FCD8839F53}"/>
              </a:ext>
            </a:extLst>
          </p:cNvPr>
          <p:cNvCxnSpPr>
            <a:cxnSpLocks/>
          </p:cNvCxnSpPr>
          <p:nvPr/>
        </p:nvCxnSpPr>
        <p:spPr>
          <a:xfrm>
            <a:off x="3179304" y="3084821"/>
            <a:ext cx="0" cy="2224595"/>
          </a:xfrm>
          <a:prstGeom prst="line">
            <a:avLst/>
          </a:prstGeom>
          <a:ln>
            <a:solidFill>
              <a:srgbClr val="94C9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0850563" cy="1028700"/>
          </a:xfrm>
        </p:spPr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4294967295"/>
          </p:nvPr>
        </p:nvSpPr>
        <p:spPr>
          <a:xfrm>
            <a:off x="0" y="6240463"/>
            <a:ext cx="4140200" cy="206375"/>
          </a:xfrm>
        </p:spPr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5611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</a:rPr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9d9834eb-d7f1-46d9-939b-fe70204871d8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94C84F"/>
      </a:accent1>
      <a:accent2>
        <a:srgbClr val="BCC2CB"/>
      </a:accent2>
      <a:accent3>
        <a:srgbClr val="A6AFBD"/>
      </a:accent3>
      <a:accent4>
        <a:srgbClr val="979DA6"/>
      </a:accent4>
      <a:accent5>
        <a:srgbClr val="676B72"/>
      </a:accent5>
      <a:accent6>
        <a:srgbClr val="424B56"/>
      </a:accent6>
      <a:hlink>
        <a:srgbClr val="90CB0C"/>
      </a:hlink>
      <a:folHlink>
        <a:srgbClr val="BFBFBF"/>
      </a:folHlink>
    </a:clrScheme>
    <a:fontScheme name="fon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94C84F"/>
    </a:accent1>
    <a:accent2>
      <a:srgbClr val="BCC2CB"/>
    </a:accent2>
    <a:accent3>
      <a:srgbClr val="A6AFBD"/>
    </a:accent3>
    <a:accent4>
      <a:srgbClr val="979DA6"/>
    </a:accent4>
    <a:accent5>
      <a:srgbClr val="676B72"/>
    </a:accent5>
    <a:accent6>
      <a:srgbClr val="424B56"/>
    </a:accent6>
    <a:hlink>
      <a:srgbClr val="90CB0C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94C84F"/>
    </a:accent1>
    <a:accent2>
      <a:srgbClr val="BCC2CB"/>
    </a:accent2>
    <a:accent3>
      <a:srgbClr val="A6AFBD"/>
    </a:accent3>
    <a:accent4>
      <a:srgbClr val="979DA6"/>
    </a:accent4>
    <a:accent5>
      <a:srgbClr val="676B72"/>
    </a:accent5>
    <a:accent6>
      <a:srgbClr val="424B56"/>
    </a:accent6>
    <a:hlink>
      <a:srgbClr val="90CB0C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94C84F"/>
    </a:accent1>
    <a:accent2>
      <a:srgbClr val="BCC2CB"/>
    </a:accent2>
    <a:accent3>
      <a:srgbClr val="A6AFBD"/>
    </a:accent3>
    <a:accent4>
      <a:srgbClr val="979DA6"/>
    </a:accent4>
    <a:accent5>
      <a:srgbClr val="676B72"/>
    </a:accent5>
    <a:accent6>
      <a:srgbClr val="424B56"/>
    </a:accent6>
    <a:hlink>
      <a:srgbClr val="90CB0C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7</TotalTime>
  <Words>59</Words>
  <Application>Microsoft Office PowerPoint</Application>
  <PresentationFormat>宽屏</PresentationFormat>
  <Paragraphs>19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1" baseType="lpstr">
      <vt:lpstr>等线</vt:lpstr>
      <vt:lpstr>Arial</vt:lpstr>
      <vt:lpstr>Calibri</vt:lpstr>
      <vt:lpstr>Impact</vt:lpstr>
      <vt:lpstr>主题5</vt:lpstr>
      <vt:lpstr>think-cell Slide</vt:lpstr>
      <vt:lpstr>OfficePLUS® PowerPoint standard template</vt:lpstr>
      <vt:lpstr>PowerPoint 演示文稿</vt:lpstr>
      <vt:lpstr>Section Header Here</vt:lpstr>
      <vt:lpstr>Use "Title Only" Layout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卓宪 吴</cp:lastModifiedBy>
  <cp:revision>14</cp:revision>
  <cp:lastPrinted>2018-07-30T16:00:00Z</cp:lastPrinted>
  <dcterms:created xsi:type="dcterms:W3CDTF">2018-07-30T16:00:00Z</dcterms:created>
  <dcterms:modified xsi:type="dcterms:W3CDTF">2025-03-04T05:2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